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179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44939D3-9363-4124-B0A4-23F26689CCF4}">
          <p14:sldIdLst>
            <p14:sldId id="214747179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ju Das" userId="d4411e19-492d-4921-ac12-c6adc2dc3429" providerId="ADAL" clId="{D4D821D7-B833-4379-8F0F-0687ABD4CC91}"/>
    <pc:docChg chg="undo custSel modSld">
      <pc:chgData name="Raju Das" userId="d4411e19-492d-4921-ac12-c6adc2dc3429" providerId="ADAL" clId="{D4D821D7-B833-4379-8F0F-0687ABD4CC91}" dt="2024-03-14T14:35:30.336" v="802" actId="33524"/>
      <pc:docMkLst>
        <pc:docMk/>
      </pc:docMkLst>
      <pc:sldChg chg="addSp delSp modSp mod">
        <pc:chgData name="Raju Das" userId="d4411e19-492d-4921-ac12-c6adc2dc3429" providerId="ADAL" clId="{D4D821D7-B833-4379-8F0F-0687ABD4CC91}" dt="2024-03-14T14:35:30.336" v="802" actId="33524"/>
        <pc:sldMkLst>
          <pc:docMk/>
          <pc:sldMk cId="536417774" sldId="2147471791"/>
        </pc:sldMkLst>
        <pc:spChg chg="mod">
          <ac:chgData name="Raju Das" userId="d4411e19-492d-4921-ac12-c6adc2dc3429" providerId="ADAL" clId="{D4D821D7-B833-4379-8F0F-0687ABD4CC91}" dt="2024-03-14T14:34:49.540" v="792" actId="313"/>
          <ac:spMkLst>
            <pc:docMk/>
            <pc:sldMk cId="536417774" sldId="2147471791"/>
            <ac:spMk id="30" creationId="{1D8F4370-9C4D-4D43-BC48-CADB330C05C8}"/>
          </ac:spMkLst>
        </pc:spChg>
        <pc:spChg chg="mod">
          <ac:chgData name="Raju Das" userId="d4411e19-492d-4921-ac12-c6adc2dc3429" providerId="ADAL" clId="{D4D821D7-B833-4379-8F0F-0687ABD4CC91}" dt="2024-03-14T14:16:45.099" v="573" actId="14100"/>
          <ac:spMkLst>
            <pc:docMk/>
            <pc:sldMk cId="536417774" sldId="2147471791"/>
            <ac:spMk id="37" creationId="{543BDE04-2175-4980-90C0-53F83F17C0E3}"/>
          </ac:spMkLst>
        </pc:spChg>
        <pc:spChg chg="mod">
          <ac:chgData name="Raju Das" userId="d4411e19-492d-4921-ac12-c6adc2dc3429" providerId="ADAL" clId="{D4D821D7-B833-4379-8F0F-0687ABD4CC91}" dt="2024-03-14T14:35:30.336" v="802" actId="33524"/>
          <ac:spMkLst>
            <pc:docMk/>
            <pc:sldMk cId="536417774" sldId="2147471791"/>
            <ac:spMk id="41" creationId="{C4FDDC01-8265-462D-BA64-F2A36E2C395E}"/>
          </ac:spMkLst>
        </pc:spChg>
        <pc:spChg chg="mod">
          <ac:chgData name="Raju Das" userId="d4411e19-492d-4921-ac12-c6adc2dc3429" providerId="ADAL" clId="{D4D821D7-B833-4379-8F0F-0687ABD4CC91}" dt="2024-03-14T14:32:55.080" v="768" actId="1076"/>
          <ac:spMkLst>
            <pc:docMk/>
            <pc:sldMk cId="536417774" sldId="2147471791"/>
            <ac:spMk id="53" creationId="{712D59FD-CD1B-4AB4-BE18-A615B36379FB}"/>
          </ac:spMkLst>
        </pc:spChg>
        <pc:spChg chg="mod">
          <ac:chgData name="Raju Das" userId="d4411e19-492d-4921-ac12-c6adc2dc3429" providerId="ADAL" clId="{D4D821D7-B833-4379-8F0F-0687ABD4CC91}" dt="2024-03-14T14:32:55.080" v="768" actId="1076"/>
          <ac:spMkLst>
            <pc:docMk/>
            <pc:sldMk cId="536417774" sldId="2147471791"/>
            <ac:spMk id="72" creationId="{838E789F-8B2C-4A8C-AA54-D4F99D7EBF56}"/>
          </ac:spMkLst>
        </pc:spChg>
        <pc:spChg chg="mod">
          <ac:chgData name="Raju Das" userId="d4411e19-492d-4921-ac12-c6adc2dc3429" providerId="ADAL" clId="{D4D821D7-B833-4379-8F0F-0687ABD4CC91}" dt="2024-03-14T14:16:12.109" v="567" actId="108"/>
          <ac:spMkLst>
            <pc:docMk/>
            <pc:sldMk cId="536417774" sldId="2147471791"/>
            <ac:spMk id="78" creationId="{23F479DF-BDCF-4797-9CEF-426B08262C08}"/>
          </ac:spMkLst>
        </pc:spChg>
        <pc:spChg chg="mod">
          <ac:chgData name="Raju Das" userId="d4411e19-492d-4921-ac12-c6adc2dc3429" providerId="ADAL" clId="{D4D821D7-B833-4379-8F0F-0687ABD4CC91}" dt="2024-03-14T14:23:19.738" v="701" actId="20577"/>
          <ac:spMkLst>
            <pc:docMk/>
            <pc:sldMk cId="536417774" sldId="2147471791"/>
            <ac:spMk id="82" creationId="{DCC310C3-7A69-422B-A426-FA6891C03D19}"/>
          </ac:spMkLst>
        </pc:spChg>
        <pc:grpChg chg="mod">
          <ac:chgData name="Raju Das" userId="d4411e19-492d-4921-ac12-c6adc2dc3429" providerId="ADAL" clId="{D4D821D7-B833-4379-8F0F-0687ABD4CC91}" dt="2024-03-14T14:32:55.080" v="768" actId="1076"/>
          <ac:grpSpMkLst>
            <pc:docMk/>
            <pc:sldMk cId="536417774" sldId="2147471791"/>
            <ac:grpSpMk id="20" creationId="{033B05EA-8174-4F03-AEC1-E076C6BE96B9}"/>
          </ac:grpSpMkLst>
        </pc:grpChg>
        <pc:grpChg chg="del">
          <ac:chgData name="Raju Das" userId="d4411e19-492d-4921-ac12-c6adc2dc3429" providerId="ADAL" clId="{D4D821D7-B833-4379-8F0F-0687ABD4CC91}" dt="2024-03-14T13:32:25.444" v="69" actId="478"/>
          <ac:grpSpMkLst>
            <pc:docMk/>
            <pc:sldMk cId="536417774" sldId="2147471791"/>
            <ac:grpSpMk id="25" creationId="{F0058B1B-0C61-463D-8FE9-026A9750D015}"/>
          </ac:grpSpMkLst>
        </pc:grpChg>
        <pc:graphicFrameChg chg="del mod modGraphic">
          <ac:chgData name="Raju Das" userId="d4411e19-492d-4921-ac12-c6adc2dc3429" providerId="ADAL" clId="{D4D821D7-B833-4379-8F0F-0687ABD4CC91}" dt="2024-03-14T14:29:22.910" v="736" actId="478"/>
          <ac:graphicFrameMkLst>
            <pc:docMk/>
            <pc:sldMk cId="536417774" sldId="2147471791"/>
            <ac:graphicFrameMk id="9" creationId="{F7E3828E-72E6-FED0-354C-B8A71EDC4165}"/>
          </ac:graphicFrameMkLst>
        </pc:graphicFrameChg>
        <pc:picChg chg="add mod">
          <ac:chgData name="Raju Das" userId="d4411e19-492d-4921-ac12-c6adc2dc3429" providerId="ADAL" clId="{D4D821D7-B833-4379-8F0F-0687ABD4CC91}" dt="2024-03-14T13:32:44.306" v="71" actId="1076"/>
          <ac:picMkLst>
            <pc:docMk/>
            <pc:sldMk cId="536417774" sldId="2147471791"/>
            <ac:picMk id="2" creationId="{6CC47013-03FD-4BE3-4CA3-5D00851F9872}"/>
          </ac:picMkLst>
        </pc:picChg>
        <pc:picChg chg="add mod">
          <ac:chgData name="Raju Das" userId="d4411e19-492d-4921-ac12-c6adc2dc3429" providerId="ADAL" clId="{D4D821D7-B833-4379-8F0F-0687ABD4CC91}" dt="2024-03-14T14:34:18.315" v="787" actId="14100"/>
          <ac:picMkLst>
            <pc:docMk/>
            <pc:sldMk cId="536417774" sldId="2147471791"/>
            <ac:picMk id="3" creationId="{B71A0EF3-52CB-659E-A020-C298739165E3}"/>
          </ac:picMkLst>
        </pc:picChg>
        <pc:picChg chg="add mod">
          <ac:chgData name="Raju Das" userId="d4411e19-492d-4921-ac12-c6adc2dc3429" providerId="ADAL" clId="{D4D821D7-B833-4379-8F0F-0687ABD4CC91}" dt="2024-03-14T14:30:03.820" v="743" actId="1076"/>
          <ac:picMkLst>
            <pc:docMk/>
            <pc:sldMk cId="536417774" sldId="2147471791"/>
            <ac:picMk id="4" creationId="{AE2ADB5F-6AAB-10B4-52CA-2FE11313F78A}"/>
          </ac:picMkLst>
        </pc:picChg>
        <pc:picChg chg="add mod">
          <ac:chgData name="Raju Das" userId="d4411e19-492d-4921-ac12-c6adc2dc3429" providerId="ADAL" clId="{D4D821D7-B833-4379-8F0F-0687ABD4CC91}" dt="2024-03-14T14:30:19.360" v="747" actId="1076"/>
          <ac:picMkLst>
            <pc:docMk/>
            <pc:sldMk cId="536417774" sldId="2147471791"/>
            <ac:picMk id="6" creationId="{991713AF-6DC6-17D0-73B8-607F49AA5261}"/>
          </ac:picMkLst>
        </pc:picChg>
        <pc:picChg chg="add mod">
          <ac:chgData name="Raju Das" userId="d4411e19-492d-4921-ac12-c6adc2dc3429" providerId="ADAL" clId="{D4D821D7-B833-4379-8F0F-0687ABD4CC91}" dt="2024-03-14T14:30:54.057" v="753" actId="14100"/>
          <ac:picMkLst>
            <pc:docMk/>
            <pc:sldMk cId="536417774" sldId="2147471791"/>
            <ac:picMk id="7" creationId="{5A8CC1BC-D05D-5E49-F17B-473DE3C132D3}"/>
          </ac:picMkLst>
        </pc:picChg>
        <pc:picChg chg="add mod">
          <ac:chgData name="Raju Das" userId="d4411e19-492d-4921-ac12-c6adc2dc3429" providerId="ADAL" clId="{D4D821D7-B833-4379-8F0F-0687ABD4CC91}" dt="2024-03-14T14:31:14.065" v="756" actId="1076"/>
          <ac:picMkLst>
            <pc:docMk/>
            <pc:sldMk cId="536417774" sldId="2147471791"/>
            <ac:picMk id="8" creationId="{FE5A0245-A1A9-D932-1CFD-CB39EA74B543}"/>
          </ac:picMkLst>
        </pc:picChg>
        <pc:picChg chg="del">
          <ac:chgData name="Raju Das" userId="d4411e19-492d-4921-ac12-c6adc2dc3429" providerId="ADAL" clId="{D4D821D7-B833-4379-8F0F-0687ABD4CC91}" dt="2024-03-14T14:29:25.290" v="737" actId="478"/>
          <ac:picMkLst>
            <pc:docMk/>
            <pc:sldMk cId="536417774" sldId="2147471791"/>
            <ac:picMk id="10" creationId="{6BB418A7-FAAD-51B4-86E8-FB660451E24F}"/>
          </ac:picMkLst>
        </pc:picChg>
        <pc:picChg chg="del">
          <ac:chgData name="Raju Das" userId="d4411e19-492d-4921-ac12-c6adc2dc3429" providerId="ADAL" clId="{D4D821D7-B833-4379-8F0F-0687ABD4CC91}" dt="2024-03-14T14:29:27.173" v="738" actId="478"/>
          <ac:picMkLst>
            <pc:docMk/>
            <pc:sldMk cId="536417774" sldId="2147471791"/>
            <ac:picMk id="11" creationId="{5E2C8ADC-4DCD-617B-8B70-0EF6EDE91C91}"/>
          </ac:picMkLst>
        </pc:picChg>
        <pc:picChg chg="add mod">
          <ac:chgData name="Raju Das" userId="d4411e19-492d-4921-ac12-c6adc2dc3429" providerId="ADAL" clId="{D4D821D7-B833-4379-8F0F-0687ABD4CC91}" dt="2024-03-14T14:31:16.432" v="757" actId="1076"/>
          <ac:picMkLst>
            <pc:docMk/>
            <pc:sldMk cId="536417774" sldId="2147471791"/>
            <ac:picMk id="12" creationId="{29911B6B-D265-0F68-2B7A-A9641C325FAE}"/>
          </ac:picMkLst>
        </pc:picChg>
        <pc:picChg chg="add mod">
          <ac:chgData name="Raju Das" userId="d4411e19-492d-4921-ac12-c6adc2dc3429" providerId="ADAL" clId="{D4D821D7-B833-4379-8F0F-0687ABD4CC91}" dt="2024-03-14T14:34:28.484" v="788" actId="1076"/>
          <ac:picMkLst>
            <pc:docMk/>
            <pc:sldMk cId="536417774" sldId="2147471791"/>
            <ac:picMk id="14" creationId="{11E40BF2-E60F-FB07-D7DD-739C25F411A6}"/>
          </ac:picMkLst>
        </pc:picChg>
        <pc:picChg chg="add del mod">
          <ac:chgData name="Raju Das" userId="d4411e19-492d-4921-ac12-c6adc2dc3429" providerId="ADAL" clId="{D4D821D7-B833-4379-8F0F-0687ABD4CC91}" dt="2024-03-14T14:32:44.803" v="765"/>
          <ac:picMkLst>
            <pc:docMk/>
            <pc:sldMk cId="536417774" sldId="2147471791"/>
            <ac:picMk id="1026" creationId="{E66EDD73-D1A7-3AD2-0C11-B295FEB0D2A2}"/>
          </ac:picMkLst>
        </pc:picChg>
        <pc:picChg chg="add del mod">
          <ac:chgData name="Raju Das" userId="d4411e19-492d-4921-ac12-c6adc2dc3429" providerId="ADAL" clId="{D4D821D7-B833-4379-8F0F-0687ABD4CC91}" dt="2024-03-14T14:32:55.580" v="769"/>
          <ac:picMkLst>
            <pc:docMk/>
            <pc:sldMk cId="536417774" sldId="2147471791"/>
            <ac:picMk id="1028" creationId="{3C0DC876-EEFF-54A8-E164-6B5E3164D7F1}"/>
          </ac:picMkLst>
        </pc:picChg>
        <pc:picChg chg="add del mod">
          <ac:chgData name="Raju Das" userId="d4411e19-492d-4921-ac12-c6adc2dc3429" providerId="ADAL" clId="{D4D821D7-B833-4379-8F0F-0687ABD4CC91}" dt="2024-03-14T14:33:13.182" v="777"/>
          <ac:picMkLst>
            <pc:docMk/>
            <pc:sldMk cId="536417774" sldId="2147471791"/>
            <ac:picMk id="1030" creationId="{EA197045-BCE2-473D-D30F-655947547025}"/>
          </ac:picMkLst>
        </pc:picChg>
      </pc:sldChg>
    </pc:docChg>
  </pc:docChgLst>
  <pc:docChgLst>
    <pc:chgData name="Raju Das" userId="d4411e19-492d-4921-ac12-c6adc2dc3429" providerId="ADAL" clId="{D2A21847-A7B6-44BE-9581-9C1A6A02F2B2}"/>
    <pc:docChg chg="modSld">
      <pc:chgData name="Raju Das" userId="d4411e19-492d-4921-ac12-c6adc2dc3429" providerId="ADAL" clId="{D2A21847-A7B6-44BE-9581-9C1A6A02F2B2}" dt="2024-10-01T03:11:34.556" v="2" actId="1038"/>
      <pc:docMkLst>
        <pc:docMk/>
      </pc:docMkLst>
      <pc:sldChg chg="modSp mod">
        <pc:chgData name="Raju Das" userId="d4411e19-492d-4921-ac12-c6adc2dc3429" providerId="ADAL" clId="{D2A21847-A7B6-44BE-9581-9C1A6A02F2B2}" dt="2024-10-01T03:11:34.556" v="2" actId="1038"/>
        <pc:sldMkLst>
          <pc:docMk/>
          <pc:sldMk cId="536417774" sldId="2147471791"/>
        </pc:sldMkLst>
        <pc:picChg chg="mod">
          <ac:chgData name="Raju Das" userId="d4411e19-492d-4921-ac12-c6adc2dc3429" providerId="ADAL" clId="{D2A21847-A7B6-44BE-9581-9C1A6A02F2B2}" dt="2024-10-01T03:11:34.556" v="2" actId="1038"/>
          <ac:picMkLst>
            <pc:docMk/>
            <pc:sldMk cId="536417774" sldId="2147471791"/>
            <ac:picMk id="4" creationId="{AE2ADB5F-6AAB-10B4-52CA-2FE11313F78A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26B112-B83C-49DF-8CB1-9D53140E6078}" type="datetimeFigureOut">
              <a:rPr lang="en-IN" smtClean="0"/>
              <a:t>01-10-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32349B-292E-4243-9629-2CD81AA7186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0049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EB4A21-BFFC-48DD-B313-9CE62D0451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C92FC4-B81F-48D8-B70E-DC26D1A194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Go PH-Cloud Migration and Mange Servic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7666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386ECF2-B55D-4F20-9FEB-9C31613F1326}"/>
              </a:ext>
            </a:extLst>
          </p:cNvPr>
          <p:cNvSpPr/>
          <p:nvPr userDrawn="1"/>
        </p:nvSpPr>
        <p:spPr>
          <a:xfrm>
            <a:off x="0" y="-16992"/>
            <a:ext cx="12192000" cy="6874992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293A3E5-79CB-4DC9-B1C6-5F7F93CBA3C9}"/>
              </a:ext>
            </a:extLst>
          </p:cNvPr>
          <p:cNvSpPr/>
          <p:nvPr userDrawn="1"/>
        </p:nvSpPr>
        <p:spPr>
          <a:xfrm>
            <a:off x="0" y="2286595"/>
            <a:ext cx="12192000" cy="456962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>
                  <a:alpha val="72000"/>
                </a:schemeClr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/>
            <a:endParaRPr lang="en-IN" sz="1199">
              <a:solidFill>
                <a:srgbClr val="FFFFFF"/>
              </a:solidFill>
              <a:latin typeface="EYInterstate Ligh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AB8B1BB-1F11-49E0-A4BC-ABEDA0AD4B6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141"/>
            <a:ext cx="1224912" cy="1434353"/>
            <a:chOff x="6529" y="3125"/>
            <a:chExt cx="772" cy="904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75F07D14-E3D4-466C-BF57-62200B34B3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IN" sz="1799">
                <a:solidFill>
                  <a:srgbClr val="FFFFFF"/>
                </a:solidFill>
                <a:latin typeface="EYInterstate Light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D00EBB0-445D-4507-B021-8E98531CC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IN" sz="1799">
                <a:solidFill>
                  <a:srgbClr val="FFFFFF"/>
                </a:solidFill>
                <a:latin typeface="EYInterstate Light"/>
              </a:endParaRPr>
            </a:p>
          </p:txBody>
        </p:sp>
      </p:grp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DF00A9F-AD0C-4F4D-BB8D-899B8174EA5F}"/>
              </a:ext>
            </a:extLst>
          </p:cNvPr>
          <p:cNvSpPr/>
          <p:nvPr userDrawn="1"/>
        </p:nvSpPr>
        <p:spPr>
          <a:xfrm>
            <a:off x="660626" y="1070197"/>
            <a:ext cx="4484029" cy="2995846"/>
          </a:xfrm>
          <a:custGeom>
            <a:avLst/>
            <a:gdLst>
              <a:gd name="connsiteX0" fmla="*/ 5233982 w 5257800"/>
              <a:gd name="connsiteY0" fmla="*/ 0 h 2997406"/>
              <a:gd name="connsiteX1" fmla="*/ 5257800 w 5257800"/>
              <a:gd name="connsiteY1" fmla="*/ 0 h 2997406"/>
              <a:gd name="connsiteX2" fmla="*/ 5257800 w 5257800"/>
              <a:gd name="connsiteY2" fmla="*/ 2997406 h 2997406"/>
              <a:gd name="connsiteX3" fmla="*/ 0 w 5257800"/>
              <a:gd name="connsiteY3" fmla="*/ 2997406 h 2997406"/>
              <a:gd name="connsiteX4" fmla="*/ 0 w 5257800"/>
              <a:gd name="connsiteY4" fmla="*/ 922892 h 2997406"/>
              <a:gd name="connsiteX5" fmla="*/ 5233982 w 5257800"/>
              <a:gd name="connsiteY5" fmla="*/ 0 h 299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57800" h="2997406">
                <a:moveTo>
                  <a:pt x="5233982" y="0"/>
                </a:moveTo>
                <a:lnTo>
                  <a:pt x="5257800" y="0"/>
                </a:lnTo>
                <a:lnTo>
                  <a:pt x="5257800" y="2997406"/>
                </a:lnTo>
                <a:lnTo>
                  <a:pt x="0" y="2997406"/>
                </a:lnTo>
                <a:lnTo>
                  <a:pt x="0" y="922892"/>
                </a:lnTo>
                <a:lnTo>
                  <a:pt x="5233982" y="0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3943"/>
            <a:endParaRPr lang="en-IN" sz="1799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C20D254-E500-4449-AA7F-034BA5484F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4650" y="2182821"/>
            <a:ext cx="4326679" cy="979702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75C6435-A666-465B-877D-F0C13CF760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4650" y="3274759"/>
            <a:ext cx="4326679" cy="1046323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3909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iler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21888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46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Work Together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roup of people in a room&#10;&#10;Description automatically generated with medium confidence">
            <a:extLst>
              <a:ext uri="{FF2B5EF4-FFF2-40B4-BE49-F238E27FC236}">
                <a16:creationId xmlns:a16="http://schemas.microsoft.com/office/drawing/2014/main" id="{51FC1576-1D0A-4052-AE8F-26AAA8BD54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79853"/>
            <a:ext cx="12192000" cy="6858000"/>
          </a:xfrm>
          <a:prstGeom prst="rect">
            <a:avLst/>
          </a:prstGeom>
        </p:spPr>
      </p:pic>
      <p:sp>
        <p:nvSpPr>
          <p:cNvPr id="29" name="Rechteck 9">
            <a:extLst>
              <a:ext uri="{FF2B5EF4-FFF2-40B4-BE49-F238E27FC236}">
                <a16:creationId xmlns:a16="http://schemas.microsoft.com/office/drawing/2014/main" id="{AAA239CA-5C98-44DA-8050-C4391157F303}"/>
              </a:ext>
            </a:extLst>
          </p:cNvPr>
          <p:cNvSpPr>
            <a:spLocks/>
          </p:cNvSpPr>
          <p:nvPr userDrawn="1"/>
        </p:nvSpPr>
        <p:spPr bwMode="gray">
          <a:xfrm flipV="1">
            <a:off x="-2" y="-109782"/>
            <a:ext cx="12192000" cy="6887929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11158CA-3D51-432D-BF8B-6EE874E13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F20E1C88-BE0C-4DC8-8A6E-D0779C46A9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4F6490B-F99B-4CF7-A35C-E8E149A9A92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F967F7FB-7039-4D73-BE67-2952010539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1FF48ED4-FC3A-4BF8-814D-445C05C98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EDE927A1-F394-4F53-B6BB-1E536C24F7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CD1D4333-905D-43C6-848E-C88745D0DCA8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60C5EF4-2AF9-402B-8F3A-DB32B3CE1A79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15E9838E-4463-4130-B65C-18046F02CFC8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9015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ach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0322E9F5-FE76-4D13-BFC0-CDE3B98896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1" y="128548"/>
            <a:ext cx="12192000" cy="6850141"/>
          </a:xfrm>
          <a:prstGeom prst="rect">
            <a:avLst/>
          </a:prstGeom>
        </p:spPr>
      </p:pic>
      <p:sp>
        <p:nvSpPr>
          <p:cNvPr id="28" name="Rechteck 9">
            <a:extLst>
              <a:ext uri="{FF2B5EF4-FFF2-40B4-BE49-F238E27FC236}">
                <a16:creationId xmlns:a16="http://schemas.microsoft.com/office/drawing/2014/main" id="{AA720E43-5B40-41DC-B1D5-60D7D81B432B}"/>
              </a:ext>
            </a:extLst>
          </p:cNvPr>
          <p:cNvSpPr>
            <a:spLocks/>
          </p:cNvSpPr>
          <p:nvPr userDrawn="1"/>
        </p:nvSpPr>
        <p:spPr bwMode="gray">
          <a:xfrm flipV="1">
            <a:off x="9771" y="19866"/>
            <a:ext cx="12182229" cy="6858000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627B05BB-87B8-4B32-BFFA-8279D320E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14275424-02CF-4EEC-8545-86D25E8A712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5A5ECA0-AF82-4916-81E8-C319F528BF8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711C680E-CB85-49F4-8885-79FA5CE02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50C015A4-DC50-41EC-A86B-15125C1F24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357EA05F-7D14-4F5F-B422-4672B57C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5EB3607B-468C-4658-B2C2-A2EC0B001E58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782EE2C7-F52C-4433-8BBD-0CFE500D701B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C4BC307C-B17F-4AE4-B744-AC4A4497E078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9618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Two people looking at a computer&#10;&#10;Description automatically generated">
            <a:extLst>
              <a:ext uri="{FF2B5EF4-FFF2-40B4-BE49-F238E27FC236}">
                <a16:creationId xmlns:a16="http://schemas.microsoft.com/office/drawing/2014/main" id="{2E51A2F5-1541-4D14-BA1C-C2092BE2DF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2" y="19866"/>
            <a:ext cx="12192000" cy="6858000"/>
          </a:xfrm>
          <a:prstGeom prst="rect">
            <a:avLst/>
          </a:prstGeom>
        </p:spPr>
      </p:pic>
      <p:sp>
        <p:nvSpPr>
          <p:cNvPr id="15" name="Rechteck 9">
            <a:extLst>
              <a:ext uri="{FF2B5EF4-FFF2-40B4-BE49-F238E27FC236}">
                <a16:creationId xmlns:a16="http://schemas.microsoft.com/office/drawing/2014/main" id="{D7152879-FFE8-4ED9-B5E8-6E2CBCCC3CF0}"/>
              </a:ext>
            </a:extLst>
          </p:cNvPr>
          <p:cNvSpPr>
            <a:spLocks/>
          </p:cNvSpPr>
          <p:nvPr userDrawn="1"/>
        </p:nvSpPr>
        <p:spPr bwMode="gray">
          <a:xfrm flipV="1">
            <a:off x="9771" y="19866"/>
            <a:ext cx="12182229" cy="6858000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6FA8D3-5DC4-456A-AB3E-A81D434A4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D6146DD-9422-43D9-A5AA-1E24B31DEC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3420250-C346-42E8-B0CB-FB46614BFFA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8BC591EA-4862-451C-A868-E2FE02D24F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C095D7F0-1FB9-4F1C-A11B-C0AE951B9B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6DFCA743-DFF0-4436-9648-062CA56E9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E6286A4D-684F-4EBB-BE99-BC26B5AFB8B1}"/>
              </a:ext>
            </a:extLst>
          </p:cNvPr>
          <p:cNvSpPr txBox="1"/>
          <p:nvPr userDrawn="1"/>
        </p:nvSpPr>
        <p:spPr>
          <a:xfrm>
            <a:off x="11515093" y="6344927"/>
            <a:ext cx="36335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76411-544C-4F9A-8EDE-9EEB2BD21F95}" type="slidenum">
              <a:rPr kumimoji="0" lang="en-IN" sz="999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99">
              <a:solidFill>
                <a:schemeClr val="tx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219BB24-474B-4A8A-A689-294BBF5ECB2D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340929"/>
            <a:ext cx="0" cy="18203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D75C1E44-DEC5-4FDB-9232-344A3A83FB3D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29BE2D2-813F-4FBA-AD29-3A58FA8DF6B2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F637116E-830D-49CA-9539-1770B9EBA52D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2895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61063DC-B33E-4F2A-87A5-19A0E58FE6EA}"/>
              </a:ext>
            </a:extLst>
          </p:cNvPr>
          <p:cNvSpPr/>
          <p:nvPr userDrawn="1"/>
        </p:nvSpPr>
        <p:spPr>
          <a:xfrm>
            <a:off x="0" y="-16992"/>
            <a:ext cx="12192000" cy="6874992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10000" t="-48000" r="-26000" b="-22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EF033F3-660E-4AE3-9070-BC1B711E4F66}"/>
              </a:ext>
            </a:extLst>
          </p:cNvPr>
          <p:cNvGrpSpPr/>
          <p:nvPr userDrawn="1"/>
        </p:nvGrpSpPr>
        <p:grpSpPr>
          <a:xfrm>
            <a:off x="0" y="-16992"/>
            <a:ext cx="12192000" cy="6789309"/>
            <a:chOff x="0" y="-16992"/>
            <a:chExt cx="12192000" cy="6827399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D390C9E-A381-4D79-8A95-F8CD06B84717}"/>
                </a:ext>
              </a:extLst>
            </p:cNvPr>
            <p:cNvSpPr/>
            <p:nvPr/>
          </p:nvSpPr>
          <p:spPr>
            <a:xfrm>
              <a:off x="0" y="-16992"/>
              <a:ext cx="12192000" cy="6251776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D078361-D350-465E-A23F-6D5DA9A9A588}"/>
                </a:ext>
              </a:extLst>
            </p:cNvPr>
            <p:cNvSpPr/>
            <p:nvPr/>
          </p:nvSpPr>
          <p:spPr>
            <a:xfrm>
              <a:off x="0" y="1532645"/>
              <a:ext cx="12192000" cy="5277762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IN" sz="1200" dirty="0">
                  <a:solidFill>
                    <a:schemeClr val="tx1"/>
                  </a:solidFill>
                </a:rPr>
                <a:t>                                                                               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C3847A7-DDEE-0C33-E5DD-1308288284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390" y="426278"/>
            <a:ext cx="11208027" cy="50951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1C27DD5-1694-4E0E-848D-D16518137907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454938"/>
            <a:ext cx="0" cy="18203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270F5052-E5BF-4AD4-B797-9492DBF0C88C}"/>
              </a:ext>
            </a:extLst>
          </p:cNvPr>
          <p:cNvSpPr txBox="1">
            <a:spLocks/>
          </p:cNvSpPr>
          <p:nvPr userDrawn="1"/>
        </p:nvSpPr>
        <p:spPr>
          <a:xfrm>
            <a:off x="4553754" y="6644245"/>
            <a:ext cx="3084493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algn="ctr" defTabSz="913943" rtl="0" eaLnBrk="1" latinLnBrk="0" hangingPunct="1"/>
            <a:endParaRPr lang="en-US" sz="800" kern="1200">
              <a:solidFill>
                <a:srgbClr val="2E2E38"/>
              </a:solidFill>
              <a:latin typeface="EYInterstate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60550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9" y="0"/>
            <a:ext cx="12185658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0506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4DA3F9-45C1-40A1-94F3-7998D06BA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159777805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1" imgH="423" progId="TCLayout.ActiveDocument.1">
                  <p:embed/>
                </p:oleObj>
              </mc:Choice>
              <mc:Fallback>
                <p:oleObj name="think-cell Slide" r:id="rId10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4DA3F9-45C1-40A1-94F3-7998D06BA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1C85F36B-8FFE-4175-B06D-FB93B9F825B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BB7828B2-A2AD-4E34-B977-1BD12FD8BB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6B47388-8FC2-4DC1-BE06-907F0EE050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EC10993F-3CC9-459F-A52A-D66F02C146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A3F42660-C406-4FD8-BD6B-F58985580A4B}"/>
              </a:ext>
            </a:extLst>
          </p:cNvPr>
          <p:cNvSpPr txBox="1"/>
          <p:nvPr userDrawn="1"/>
        </p:nvSpPr>
        <p:spPr>
          <a:xfrm>
            <a:off x="7800975" y="6344927"/>
            <a:ext cx="3738449" cy="2460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999" b="0" dirty="0">
                <a:solidFill>
                  <a:schemeClr val="bg1"/>
                </a:solidFill>
              </a:rPr>
              <a:t>Rockstar Bio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00C0D60-1EF3-49A7-97C7-5446E6427DD7}"/>
              </a:ext>
            </a:extLst>
          </p:cNvPr>
          <p:cNvSpPr txBox="1"/>
          <p:nvPr userDrawn="1"/>
        </p:nvSpPr>
        <p:spPr>
          <a:xfrm>
            <a:off x="11515093" y="6344927"/>
            <a:ext cx="36335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76411-544C-4F9A-8EDE-9EEB2BD21F95}" type="slidenum">
              <a:rPr kumimoji="0" lang="en-IN" sz="999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99">
              <a:solidFill>
                <a:schemeClr val="bg1"/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6D9C261-F077-4E33-A77E-E282F8B89CC9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340929"/>
            <a:ext cx="0" cy="18203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Line 10">
            <a:extLst>
              <a:ext uri="{FF2B5EF4-FFF2-40B4-BE49-F238E27FC236}">
                <a16:creationId xmlns:a16="http://schemas.microsoft.com/office/drawing/2014/main" id="{BFC293BD-62FC-4F24-8ABB-4486E6D3023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60136" y="828484"/>
            <a:ext cx="1124712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3387F4A-D51F-4B4F-98F6-BDCFBC96D4DE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D5D0509-1009-4965-A844-A8BAC03DE57E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9B8AEFE-DBA6-46DB-BC51-7988059D895A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E65A8E09-3EFA-44B0-9AB1-22DD0F154BFE}"/>
              </a:ext>
            </a:extLst>
          </p:cNvPr>
          <p:cNvSpPr txBox="1">
            <a:spLocks/>
          </p:cNvSpPr>
          <p:nvPr userDrawn="1"/>
        </p:nvSpPr>
        <p:spPr>
          <a:xfrm>
            <a:off x="4553754" y="6530236"/>
            <a:ext cx="3084493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algn="ctr" defTabSz="913943" rtl="0" eaLnBrk="1" latinLnBrk="0" hangingPunct="1"/>
            <a:endParaRPr lang="en-US" sz="800" kern="1200">
              <a:solidFill>
                <a:srgbClr val="2E2E38"/>
              </a:solidFill>
              <a:latin typeface="EYInterstate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914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sldNum="0" hd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0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0" indent="0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None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220663" indent="-220663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tabLst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400050" indent="-171450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EYInterstate Light" panose="02000506000000020004" pitchFamily="2" charset="0"/>
        <a:buChar char="−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625475" indent="-168275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914400" indent="-288925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2">
          <p15:clr>
            <a:srgbClr val="F26B43"/>
          </p15:clr>
        </p15:guide>
        <p15:guide id="3" pos="290">
          <p15:clr>
            <a:srgbClr val="F26B43"/>
          </p15:clr>
        </p15:guide>
        <p15:guide id="4" pos="7394">
          <p15:clr>
            <a:srgbClr val="F26B43"/>
          </p15:clr>
        </p15:guide>
        <p15:guide id="5" orient="horz" pos="71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4199">
          <p15:clr>
            <a:srgbClr val="F26B43"/>
          </p15:clr>
        </p15:guide>
        <p15:guide id="8" orient="horz" pos="173">
          <p15:clr>
            <a:srgbClr val="F26B43"/>
          </p15:clr>
        </p15:guide>
        <p15:guide id="9" orient="horz" pos="399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emf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8AA136-BDE1-4D43-B176-D5F364394E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8AA136-BDE1-4D43-B176-D5F364394E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>
            <a:extLst>
              <a:ext uri="{FF2B5EF4-FFF2-40B4-BE49-F238E27FC236}">
                <a16:creationId xmlns:a16="http://schemas.microsoft.com/office/drawing/2014/main" id="{033B05EA-8174-4F03-AEC1-E076C6BE96B9}"/>
              </a:ext>
            </a:extLst>
          </p:cNvPr>
          <p:cNvGrpSpPr/>
          <p:nvPr/>
        </p:nvGrpSpPr>
        <p:grpSpPr>
          <a:xfrm>
            <a:off x="2196819" y="193846"/>
            <a:ext cx="9247176" cy="1022281"/>
            <a:chOff x="2379480" y="260110"/>
            <a:chExt cx="9247176" cy="1022281"/>
          </a:xfrm>
        </p:grpSpPr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712D59FD-CD1B-4AB4-BE18-A615B36379FB}"/>
                </a:ext>
              </a:extLst>
            </p:cNvPr>
            <p:cNvSpPr txBox="1"/>
            <p:nvPr/>
          </p:nvSpPr>
          <p:spPr>
            <a:xfrm>
              <a:off x="2379480" y="260110"/>
              <a:ext cx="269242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 Unicode MS" pitchFamily="34" charset="-128"/>
                <a:buNone/>
                <a:tabLst/>
                <a:defRPr/>
              </a:pPr>
              <a:r>
                <a:rPr lang="en-GB" sz="1400" dirty="0">
                  <a:solidFill>
                    <a:srgbClr val="FFE600"/>
                  </a:solidFill>
                  <a:latin typeface="EYInterstate" pitchFamily="2" charset="0"/>
                  <a:cs typeface="Arial" charset="0"/>
                </a:rPr>
                <a:t>Raju Das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 pitchFamily="2" charset="0"/>
                <a:ea typeface="+mn-ea"/>
                <a:cs typeface="Arial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838E789F-8B2C-4A8C-AA54-D4F99D7EBF56}"/>
                </a:ext>
              </a:extLst>
            </p:cNvPr>
            <p:cNvSpPr txBox="1"/>
            <p:nvPr/>
          </p:nvSpPr>
          <p:spPr>
            <a:xfrm>
              <a:off x="2494138" y="600917"/>
              <a:ext cx="9132518" cy="681474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Senior, </a:t>
              </a:r>
              <a:r>
                <a:rPr lang="en-IN" sz="1100" dirty="0">
                  <a:solidFill>
                    <a:srgbClr val="FFFFFF"/>
                  </a:solidFill>
                  <a:latin typeface="EYInterstate" pitchFamily="2" charset="0"/>
                  <a:cs typeface="Arial" charset="0"/>
                </a:rPr>
                <a:t>DevOps Engineer</a:t>
              </a:r>
              <a:endPara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" pitchFamily="2" charset="0"/>
                <a:ea typeface="+mn-ea"/>
                <a:cs typeface="Arial" charset="0"/>
              </a:endParaRPr>
            </a:p>
            <a:p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Mobile : </a:t>
              </a: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+91 7002358450</a:t>
              </a:r>
              <a:endPara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" pitchFamily="2" charset="0"/>
                <a:ea typeface="+mn-ea"/>
                <a:cs typeface="Arial" charset="0"/>
              </a:endParaRPr>
            </a:p>
            <a:p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Email : </a:t>
              </a:r>
              <a:r>
                <a:rPr lang="en-US" sz="900" dirty="0"/>
                <a:t>raju.das</a:t>
              </a:r>
              <a:r>
                <a:rPr lang="en-US" sz="900" b="0" dirty="0"/>
                <a:t>@gds.ey.com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" pitchFamily="2" charset="0"/>
                <a:ea typeface="+mn-ea"/>
                <a:cs typeface="Arial" charset="0"/>
              </a:endParaRPr>
            </a:p>
          </p:txBody>
        </p:sp>
      </p:grpSp>
      <p:sp>
        <p:nvSpPr>
          <p:cNvPr id="78" name="Text Placeholder 23">
            <a:extLst>
              <a:ext uri="{FF2B5EF4-FFF2-40B4-BE49-F238E27FC236}">
                <a16:creationId xmlns:a16="http://schemas.microsoft.com/office/drawing/2014/main" id="{23F479DF-BDCF-4797-9CEF-426B08262C08}"/>
              </a:ext>
            </a:extLst>
          </p:cNvPr>
          <p:cNvSpPr txBox="1">
            <a:spLocks/>
          </p:cNvSpPr>
          <p:nvPr/>
        </p:nvSpPr>
        <p:spPr>
          <a:xfrm>
            <a:off x="438154" y="1529801"/>
            <a:ext cx="3733194" cy="2281161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Background</a:t>
            </a:r>
          </a:p>
          <a:p>
            <a:pPr marL="141299" lvl="1" indent="-141299" algn="just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0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</a:rPr>
              <a:t>over 11 years of experience in Banking and Auction platforms, I specialize in developing architectures and building highly scalable applications. My expertise includes designing/optimizing, implementing, and migrating AWS Cloud Infrastructure, as well as proficiency in Automation, DevOps, and Legacy Application-based technologies.</a:t>
            </a:r>
            <a:endParaRPr lang="en-US" sz="1000" dirty="0">
              <a:solidFill>
                <a:schemeClr val="bg1">
                  <a:lumMod val="75000"/>
                </a:schemeClr>
              </a:solidFill>
              <a:latin typeface="EYInterstate Light (Body)"/>
              <a:cs typeface="Arial" pitchFamily="34" charset="0"/>
            </a:endParaRPr>
          </a:p>
          <a:p>
            <a:pPr marL="141299" lvl="1" indent="-141299" algn="just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0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</a:rPr>
              <a:t>Hands on experience in GitHub, AWS DevOps, Docker, EKS, Kubernetes, Jenkins, Terraform, Ansible, AWS Cloud. </a:t>
            </a:r>
          </a:p>
          <a:p>
            <a:pPr marL="141299" lvl="1" indent="-141299" algn="just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US" sz="100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</a:rPr>
              <a:t>Certification:</a:t>
            </a:r>
            <a:r>
              <a:rPr lang="en-IN" sz="100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</a:rPr>
              <a:t> RHCSA, RHCE(Ansible),</a:t>
            </a:r>
            <a:r>
              <a:rPr lang="en-IN" sz="1000" dirty="0">
                <a:latin typeface="EYInterstate"/>
                <a:ea typeface="+mn-lt"/>
                <a:cs typeface="+mn-lt"/>
                <a:sym typeface="Arial Unicode MS" pitchFamily="34" charset="-128"/>
              </a:rPr>
              <a:t> </a:t>
            </a:r>
            <a:r>
              <a:rPr lang="en-IN" sz="100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  <a:sym typeface="Arial Unicode MS" pitchFamily="34" charset="-128"/>
              </a:rPr>
              <a:t>Red Hat Certified Specialist in OpenShift Administration, Red Hat Certified Specialist in Containers, Red Hat Certified Specialist in OpenShift Developer and Certified Kubernetes Administrator and Certified in terraform</a:t>
            </a:r>
            <a:endParaRPr lang="en-US" sz="1000" dirty="0">
              <a:solidFill>
                <a:schemeClr val="bg1">
                  <a:lumMod val="75000"/>
                </a:schemeClr>
              </a:solidFill>
              <a:latin typeface="EYInterstate Light (Body)"/>
              <a:cs typeface="Arial" pitchFamily="34" charset="0"/>
            </a:endParaRPr>
          </a:p>
        </p:txBody>
      </p:sp>
      <p:sp>
        <p:nvSpPr>
          <p:cNvPr id="82" name="Text Placeholder 23">
            <a:extLst>
              <a:ext uri="{FF2B5EF4-FFF2-40B4-BE49-F238E27FC236}">
                <a16:creationId xmlns:a16="http://schemas.microsoft.com/office/drawing/2014/main" id="{DCC310C3-7A69-422B-A426-FA6891C03D19}"/>
              </a:ext>
            </a:extLst>
          </p:cNvPr>
          <p:cNvSpPr txBox="1">
            <a:spLocks/>
          </p:cNvSpPr>
          <p:nvPr/>
        </p:nvSpPr>
        <p:spPr>
          <a:xfrm>
            <a:off x="4171348" y="1568406"/>
            <a:ext cx="3944524" cy="5252656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Wingdings"/>
              <a:buChar char="Ø"/>
            </a:pPr>
            <a:r>
              <a:rPr lang="en-US" sz="1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Security - OpenVAS, Tenable,  OS Hardening , RedHat Insights, AWS security.</a:t>
            </a:r>
          </a:p>
          <a:p>
            <a:pPr marL="171450" indent="-171450">
              <a:buFont typeface="Wingdings"/>
              <a:buChar char="Ø"/>
            </a:pPr>
            <a:r>
              <a:rPr lang="en-US" sz="1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Middleware: IBM WAS, JBoss, Tomcat</a:t>
            </a:r>
          </a:p>
          <a:p>
            <a:pPr marL="171450" indent="-171450">
              <a:buFont typeface="Wingdings"/>
              <a:buChar char="Ø"/>
            </a:pPr>
            <a:r>
              <a:rPr lang="en-US" sz="1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Patching - Red Hat Satellite server, RHN, AWS SSM, BigFix</a:t>
            </a:r>
          </a:p>
          <a:p>
            <a:pPr marL="190500" indent="-190500">
              <a:buFont typeface="Wingdings"/>
              <a:buChar char="Ø"/>
            </a:pPr>
            <a:r>
              <a:rPr lang="en-US" sz="1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Storage:- IBM V7k, Dell SC4020, DS4700/3400, SAN Switch.</a:t>
            </a:r>
          </a:p>
          <a:p>
            <a:pPr marL="190500" indent="-190500">
              <a:buFont typeface="Wingdings"/>
              <a:buChar char="Ø"/>
            </a:pPr>
            <a:r>
              <a:rPr lang="en-US" sz="1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Monitoring: Tivoli Monitoring tool, ManageEngine, CloudWatch.</a:t>
            </a:r>
          </a:p>
          <a:p>
            <a:pPr marL="190500" indent="-190500">
              <a:buFont typeface="Wingdings"/>
              <a:buChar char="Ø"/>
            </a:pPr>
            <a:endParaRPr lang="en-US" sz="1000" dirty="0">
              <a:solidFill>
                <a:schemeClr val="bg1">
                  <a:lumMod val="75000"/>
                </a:schemeClr>
              </a:solidFill>
              <a:latin typeface="+mj-lt"/>
            </a:endParaRPr>
          </a:p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Professional experience</a:t>
            </a:r>
          </a:p>
          <a:p>
            <a:pPr lvl="1">
              <a:buFont typeface="Wingdings"/>
              <a:buChar char="Ø"/>
              <a:tabLst>
                <a:tab pos="2829199" algn="l"/>
                <a:tab pos="4088011" algn="r"/>
              </a:tabLst>
            </a:pPr>
            <a:r>
              <a:rPr lang="en-IN" sz="1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Design and implementation of Continuous Integration, Continuous Deployment pipelines &amp; Security Testing using AWS DevOps and Jenkins.</a:t>
            </a:r>
            <a:endParaRPr lang="en-US" sz="1000" dirty="0">
              <a:solidFill>
                <a:schemeClr val="bg1">
                  <a:lumMod val="75000"/>
                </a:schemeClr>
              </a:solidFill>
              <a:latin typeface="+mj-lt"/>
            </a:endParaRPr>
          </a:p>
          <a:p>
            <a:pPr lvl="1">
              <a:buFont typeface="Wingdings"/>
              <a:buChar char="Ø"/>
              <a:tabLst>
                <a:tab pos="2829199" algn="l"/>
                <a:tab pos="4088011" algn="r"/>
              </a:tabLst>
            </a:pPr>
            <a:r>
              <a:rPr lang="en-IN" sz="1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Implementation of CI/CD and automated deployments for Web Services and API programmes.</a:t>
            </a:r>
          </a:p>
          <a:p>
            <a:pPr lvl="1">
              <a:buFont typeface="Wingdings"/>
              <a:buChar char="Ø"/>
              <a:tabLst>
                <a:tab pos="2829199" algn="l"/>
                <a:tab pos="4088011" algn="r"/>
              </a:tabLst>
            </a:pPr>
            <a:r>
              <a:rPr lang="en-IN" sz="1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Design and automated Infrastructure provisioning on Cloud using Terraform, Ansible, CloudFormation Template.</a:t>
            </a:r>
          </a:p>
          <a:p>
            <a:pPr lvl="1">
              <a:buFont typeface="Wingdings"/>
              <a:buChar char="Ø"/>
              <a:tabLst>
                <a:tab pos="2829199" algn="l"/>
                <a:tab pos="4088011" algn="r"/>
              </a:tabLst>
            </a:pPr>
            <a:r>
              <a:rPr lang="en-IN" sz="1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Containerization using Docker, OpenShift and EKS</a:t>
            </a:r>
          </a:p>
          <a:p>
            <a:pPr lvl="1">
              <a:buFont typeface="Wingdings"/>
              <a:buChar char="Ø"/>
              <a:tabLst>
                <a:tab pos="2829199" algn="l"/>
                <a:tab pos="4088011" algn="r"/>
              </a:tabLst>
            </a:pPr>
            <a:r>
              <a:rPr lang="en-IN" sz="1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Implementation of Zero Downtime Deployment using Blue-Green deployment strategy</a:t>
            </a:r>
          </a:p>
          <a:p>
            <a:pPr lvl="1">
              <a:buFont typeface="Wingdings"/>
              <a:buChar char="Ø"/>
              <a:tabLst>
                <a:tab pos="2829199" algn="l"/>
                <a:tab pos="4088011" algn="r"/>
              </a:tabLst>
            </a:pPr>
            <a:r>
              <a:rPr lang="en-IN" sz="1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Worked on migration from On-premise to IAAS cloud, IAAS Cloud to PAAS Cloud </a:t>
            </a:r>
          </a:p>
          <a:p>
            <a:pPr lvl="1">
              <a:buFont typeface="Wingdings"/>
              <a:buChar char="Ø"/>
              <a:tabLst>
                <a:tab pos="2829199" algn="l"/>
                <a:tab pos="4088011" algn="r"/>
              </a:tabLst>
            </a:pPr>
            <a:r>
              <a:rPr lang="en-IN" sz="1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Design of Branching strategy for scrum-based development</a:t>
            </a:r>
          </a:p>
          <a:p>
            <a:pPr lvl="1">
              <a:buFont typeface="Wingdings"/>
              <a:buChar char="Ø"/>
              <a:tabLst>
                <a:tab pos="2829199" algn="l"/>
                <a:tab pos="4088011" algn="r"/>
              </a:tabLst>
            </a:pPr>
            <a:r>
              <a:rPr lang="en-IN" sz="1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Worked on architects for cloud infrastructure design, Security cost estimation and management, cloud administration.</a:t>
            </a:r>
          </a:p>
          <a:p>
            <a:pPr lvl="1">
              <a:buFont typeface="Wingdings"/>
              <a:buChar char="Ø"/>
              <a:tabLst>
                <a:tab pos="2829199" algn="l"/>
                <a:tab pos="4088011" algn="r"/>
              </a:tabLst>
            </a:pPr>
            <a:r>
              <a:rPr lang="en-IN" sz="1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Reviewed the technical deliverables and worked with the client for approval process.</a:t>
            </a:r>
          </a:p>
          <a:p>
            <a:pPr lvl="1">
              <a:buFont typeface="Wingdings"/>
              <a:buChar char="Ø"/>
              <a:tabLst>
                <a:tab pos="2829199" algn="l"/>
                <a:tab pos="4088011" algn="r"/>
              </a:tabLst>
            </a:pPr>
            <a:r>
              <a:rPr lang="en-IN" sz="1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SME for performance optimization and improving the application performance by identifying and resolving all the bottlenecking issues.</a:t>
            </a:r>
          </a:p>
        </p:txBody>
      </p:sp>
      <p:sp>
        <p:nvSpPr>
          <p:cNvPr id="83" name="Text Placeholder 23">
            <a:extLst>
              <a:ext uri="{FF2B5EF4-FFF2-40B4-BE49-F238E27FC236}">
                <a16:creationId xmlns:a16="http://schemas.microsoft.com/office/drawing/2014/main" id="{6B6A2D15-78BA-46E5-A203-42A2D9B08810}"/>
              </a:ext>
            </a:extLst>
          </p:cNvPr>
          <p:cNvSpPr txBox="1">
            <a:spLocks/>
          </p:cNvSpPr>
          <p:nvPr/>
        </p:nvSpPr>
        <p:spPr>
          <a:xfrm>
            <a:off x="4371181" y="1644242"/>
            <a:ext cx="3497692" cy="4772656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388" marR="0" lvl="3" indent="-179388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endParaRPr kumimoji="0" lang="en-IN" sz="88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 (Body)"/>
              <a:ea typeface="+mn-ea"/>
              <a:cs typeface="Arial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75F4155-5818-4007-9205-F85DC2DB26E3}"/>
              </a:ext>
            </a:extLst>
          </p:cNvPr>
          <p:cNvCxnSpPr>
            <a:cxnSpLocks/>
          </p:cNvCxnSpPr>
          <p:nvPr/>
        </p:nvCxnSpPr>
        <p:spPr>
          <a:xfrm>
            <a:off x="629723" y="3842700"/>
            <a:ext cx="3553032" cy="0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1D8F4370-9C4D-4D43-BC48-CADB330C05C8}"/>
              </a:ext>
            </a:extLst>
          </p:cNvPr>
          <p:cNvSpPr txBox="1">
            <a:spLocks/>
          </p:cNvSpPr>
          <p:nvPr/>
        </p:nvSpPr>
        <p:spPr>
          <a:xfrm>
            <a:off x="555096" y="4671503"/>
            <a:ext cx="3684459" cy="2003527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defTabSz="913943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Skills</a:t>
            </a: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0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Languages: YAML, Shell Scripting and Python</a:t>
            </a: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0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Public Cloud Platform: AWS , Azure  </a:t>
            </a: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0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 Virtualization[RHEV &amp; VMware] &amp; OpenStack</a:t>
            </a: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0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Tools: GIT, Jenkins, , GITLAB, GitHub, CloudFormation Templates, Terraform, Ansible, Docker, SonarQube, Maven, NEXUS repo and NEXUS image repo, Prisma Scan.</a:t>
            </a: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0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Domain : Banking, Auction Platform</a:t>
            </a: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0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Build Tools: Maven, Gradle</a:t>
            </a: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0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ontainerization/Orchestration: Docker, Kubernetes, EKS, ECS, OpenShift.</a:t>
            </a: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0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RDBMS Tools: MySQL, DB2,Postgresql, RDS (Storage &amp; Managed Instances)</a:t>
            </a: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endParaRPr lang="en-IN" sz="100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endParaRPr lang="en-IN" sz="100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</p:txBody>
      </p:sp>
      <p:sp>
        <p:nvSpPr>
          <p:cNvPr id="35" name="Text Placeholder 23">
            <a:extLst>
              <a:ext uri="{FF2B5EF4-FFF2-40B4-BE49-F238E27FC236}">
                <a16:creationId xmlns:a16="http://schemas.microsoft.com/office/drawing/2014/main" id="{F8F97A35-8E07-4FAE-93E3-3A3F5EC9D6DA}"/>
              </a:ext>
            </a:extLst>
          </p:cNvPr>
          <p:cNvSpPr txBox="1">
            <a:spLocks/>
          </p:cNvSpPr>
          <p:nvPr/>
        </p:nvSpPr>
        <p:spPr>
          <a:xfrm>
            <a:off x="4320076" y="4890322"/>
            <a:ext cx="3570335" cy="2047919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endParaRPr kumimoji="0" lang="en-IN" sz="88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 (Body)"/>
              <a:ea typeface="+mn-ea"/>
              <a:cs typeface="Arial" pitchFamily="34" charset="0"/>
            </a:endParaRP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B60EF47B-33A8-4977-9438-E42557B8DC2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597529" y="6358811"/>
            <a:ext cx="302897" cy="310988"/>
            <a:chOff x="7110" y="4004"/>
            <a:chExt cx="191" cy="196"/>
          </a:xfrm>
        </p:grpSpPr>
        <p:sp>
          <p:nvSpPr>
            <p:cNvPr id="141" name="Freeform 5">
              <a:extLst>
                <a:ext uri="{FF2B5EF4-FFF2-40B4-BE49-F238E27FC236}">
                  <a16:creationId xmlns:a16="http://schemas.microsoft.com/office/drawing/2014/main" id="{C2B3F2DD-5C1F-4D4E-A2DC-3E00712C6B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2" name="Freeform 6">
              <a:extLst>
                <a:ext uri="{FF2B5EF4-FFF2-40B4-BE49-F238E27FC236}">
                  <a16:creationId xmlns:a16="http://schemas.microsoft.com/office/drawing/2014/main" id="{8554FF21-00BB-43A7-B28E-43EC26E278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43" name="Freeform 7">
              <a:extLst>
                <a:ext uri="{FF2B5EF4-FFF2-40B4-BE49-F238E27FC236}">
                  <a16:creationId xmlns:a16="http://schemas.microsoft.com/office/drawing/2014/main" id="{8449D11E-6437-4A26-A0C3-249C911CB9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8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189914B-A467-43E2-8B2A-2CF3861470B1}"/>
              </a:ext>
            </a:extLst>
          </p:cNvPr>
          <p:cNvCxnSpPr>
            <a:cxnSpLocks/>
          </p:cNvCxnSpPr>
          <p:nvPr/>
        </p:nvCxnSpPr>
        <p:spPr>
          <a:xfrm>
            <a:off x="4252607" y="1529800"/>
            <a:ext cx="0" cy="5062781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34B96BC-4919-41B0-A423-B0FC905F618C}"/>
              </a:ext>
            </a:extLst>
          </p:cNvPr>
          <p:cNvCxnSpPr>
            <a:cxnSpLocks/>
          </p:cNvCxnSpPr>
          <p:nvPr/>
        </p:nvCxnSpPr>
        <p:spPr>
          <a:xfrm>
            <a:off x="8128925" y="1568406"/>
            <a:ext cx="9332" cy="4977217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3">
            <a:extLst>
              <a:ext uri="{FF2B5EF4-FFF2-40B4-BE49-F238E27FC236}">
                <a16:creationId xmlns:a16="http://schemas.microsoft.com/office/drawing/2014/main" id="{C4FDDC01-8265-462D-BA64-F2A36E2C395E}"/>
              </a:ext>
            </a:extLst>
          </p:cNvPr>
          <p:cNvSpPr txBox="1">
            <a:spLocks/>
          </p:cNvSpPr>
          <p:nvPr/>
        </p:nvSpPr>
        <p:spPr>
          <a:xfrm>
            <a:off x="8115872" y="1529800"/>
            <a:ext cx="3863753" cy="5139999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Project Details</a:t>
            </a:r>
          </a:p>
          <a:p>
            <a:pPr marL="155539" lvl="3" indent="-155539" algn="just" defTabSz="829544" fontAlgn="base">
              <a:spcBef>
                <a:spcPts val="544"/>
              </a:spcBef>
              <a:spcAft>
                <a:spcPts val="544"/>
              </a:spcAft>
              <a:buFont typeface="Wingdings 3" panose="05040102010807070707" pitchFamily="18" charset="2"/>
              <a:buChar char="u"/>
            </a:pPr>
            <a:r>
              <a:rPr lang="en-IN" sz="1000" b="1" dirty="0">
                <a:latin typeface="EYInterstate"/>
                <a:ea typeface="+mn-ea"/>
                <a:cs typeface="Arial"/>
              </a:rPr>
              <a:t>US</a:t>
            </a:r>
            <a:r>
              <a:rPr lang="en-IN" sz="1000" b="1" dirty="0">
                <a:latin typeface="EYInterstate"/>
                <a:ea typeface="+mn-lt"/>
                <a:cs typeface="+mn-lt"/>
              </a:rPr>
              <a:t> Based Banking Project: </a:t>
            </a:r>
            <a:r>
              <a:rPr lang="en-IN" sz="1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Project involved cloud infrastructure automation design and implementation of bank application using AWS API gateway, Cognito, ECS, RDS, GitHub workflow etc. </a:t>
            </a:r>
          </a:p>
          <a:p>
            <a:pPr marL="155539" lvl="3" indent="-155539" algn="just" defTabSz="829544" fontAlgn="base">
              <a:spcBef>
                <a:spcPts val="544"/>
              </a:spcBef>
              <a:spcAft>
                <a:spcPts val="544"/>
              </a:spcAft>
              <a:buFont typeface="Wingdings 3" panose="05040102010807070707" pitchFamily="18" charset="2"/>
              <a:buChar char="u"/>
            </a:pPr>
            <a:r>
              <a:rPr lang="en-IN" sz="1000" b="1" dirty="0">
                <a:latin typeface="EYInterstate"/>
                <a:ea typeface="+mn-ea"/>
                <a:cs typeface="Arial"/>
              </a:rPr>
              <a:t>UK</a:t>
            </a:r>
            <a:r>
              <a:rPr lang="en-IN" sz="1000" b="1" dirty="0">
                <a:latin typeface="EYInterstate"/>
                <a:ea typeface="+mn-lt"/>
                <a:cs typeface="+mn-lt"/>
              </a:rPr>
              <a:t> Based Banking API Gateway Project</a:t>
            </a:r>
            <a:r>
              <a:rPr lang="en-IN" sz="1000" dirty="0">
                <a:latin typeface="EYInterstate"/>
                <a:ea typeface="+mn-lt"/>
                <a:cs typeface="+mn-lt"/>
              </a:rPr>
              <a:t>: </a:t>
            </a:r>
            <a:r>
              <a:rPr lang="en-IN" sz="1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Project involved cloud infrastructure automation design and implementation of Akana API Gateway. He worked as a Senior Consultant working with team advising on designing and implementation throughout migration process from On premise OpenShift to AWS EKS project. Includes AWS, EKS, CI/CD, SCM, Image Repo and Security management.</a:t>
            </a:r>
            <a:endParaRPr lang="en-US" sz="1000" dirty="0">
              <a:solidFill>
                <a:schemeClr val="bg1">
                  <a:lumMod val="75000"/>
                </a:schemeClr>
              </a:solidFill>
              <a:latin typeface="+mj-lt"/>
            </a:endParaRPr>
          </a:p>
          <a:p>
            <a:pPr marL="155539" lvl="3" indent="-155539" algn="just" defTabSz="829544" fontAlgn="base">
              <a:spcBef>
                <a:spcPts val="544"/>
              </a:spcBef>
              <a:spcAft>
                <a:spcPts val="544"/>
              </a:spcAft>
              <a:buFont typeface="Wingdings 3" panose="05040102010807070707" pitchFamily="18" charset="2"/>
              <a:buChar char="u"/>
            </a:pPr>
            <a:r>
              <a:rPr lang="en-IN" sz="1000" b="1" dirty="0">
                <a:latin typeface="EYInterstate"/>
                <a:ea typeface="+mn-lt"/>
                <a:cs typeface="+mn-lt"/>
              </a:rPr>
              <a:t>India-based Auction and Support Project:</a:t>
            </a:r>
            <a:r>
              <a:rPr lang="en-IN" sz="1000" dirty="0">
                <a:latin typeface="EYInterstate"/>
                <a:ea typeface="+mn-lt"/>
                <a:cs typeface="+mn-lt"/>
              </a:rPr>
              <a:t>  </a:t>
            </a:r>
            <a:r>
              <a:rPr lang="en-IN" sz="1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This Company is India’s top e-Auction platform provider. He has worked in this firm as a Senior Officer for On-prem &amp; Cloud Infrastructure Management, Automation using Configuration Management tool, </a:t>
            </a:r>
            <a:r>
              <a:rPr lang="en-IN" sz="1000" dirty="0" err="1">
                <a:solidFill>
                  <a:schemeClr val="bg1">
                    <a:lumMod val="75000"/>
                  </a:schemeClr>
                </a:solidFill>
                <a:latin typeface="+mj-lt"/>
              </a:rPr>
              <a:t>IaC</a:t>
            </a:r>
            <a:r>
              <a:rPr lang="en-IN" sz="1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 and CI/CD pipeline implementation. Worked on POCs on various Project. Providing client support and managing end to end security of product on three tier architecture which also includes internal and external audit. </a:t>
            </a:r>
          </a:p>
          <a:p>
            <a:pPr marL="155539" lvl="3" indent="-155539" algn="just" defTabSz="829544" fontAlgn="base">
              <a:spcBef>
                <a:spcPts val="544"/>
              </a:spcBef>
              <a:spcAft>
                <a:spcPts val="544"/>
              </a:spcAft>
              <a:buFont typeface="Wingdings 3" panose="05040102010807070707" pitchFamily="18" charset="2"/>
              <a:buChar char="u"/>
            </a:pPr>
            <a:r>
              <a:rPr lang="en-IN" sz="1000" b="1" dirty="0">
                <a:latin typeface="EYInterstate"/>
                <a:ea typeface="+mn-ea"/>
                <a:cs typeface="Arial"/>
              </a:rPr>
              <a:t>Leading US </a:t>
            </a:r>
            <a:r>
              <a:rPr lang="en-IN" sz="1000" b="1" dirty="0">
                <a:latin typeface="EYInterstate"/>
                <a:ea typeface="+mn-lt"/>
                <a:cs typeface="+mn-lt"/>
              </a:rPr>
              <a:t>Support Company:</a:t>
            </a:r>
            <a:r>
              <a:rPr lang="en-IN" sz="1000" dirty="0">
                <a:latin typeface="EYInterstate"/>
                <a:ea typeface="+mn-lt"/>
                <a:cs typeface="+mn-lt"/>
              </a:rPr>
              <a:t> </a:t>
            </a:r>
            <a:r>
              <a:rPr lang="en-IN" sz="1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This company is America’s Support provider. He has worked as Unix &amp; Storage L2 administrator. Providing support on three tier architecture on On-prem virtualization, Private and public cloud. Which includes OpenStack, IBM PAAS, HP Helium cloud, IBM Power server, RedHat/Debian/Ubuntu, IBM/Dell storage, SAN switch, RedHat Satellite, DB, Webserver and Middleware support. </a:t>
            </a:r>
          </a:p>
          <a:p>
            <a:pPr marL="155539" lvl="3" indent="-155539" algn="just" defTabSz="829544" fontAlgn="base">
              <a:spcBef>
                <a:spcPts val="544"/>
              </a:spcBef>
              <a:spcAft>
                <a:spcPts val="544"/>
              </a:spcAft>
              <a:buSzPct val="70000"/>
              <a:buFont typeface="Wingdings 3" panose="05040102010807070707" pitchFamily="18" charset="2"/>
              <a:buChar char="u"/>
            </a:pPr>
            <a:endParaRPr lang="en-IN" sz="1000" dirty="0">
              <a:solidFill>
                <a:schemeClr val="bg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543BDE04-2175-4980-90C0-53F83F17C0E3}"/>
              </a:ext>
            </a:extLst>
          </p:cNvPr>
          <p:cNvSpPr txBox="1">
            <a:spLocks/>
          </p:cNvSpPr>
          <p:nvPr/>
        </p:nvSpPr>
        <p:spPr>
          <a:xfrm>
            <a:off x="438155" y="3898121"/>
            <a:ext cx="3675050" cy="773380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Education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GB" sz="100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</a:rPr>
              <a:t>Holds </a:t>
            </a:r>
            <a:r>
              <a:rPr lang="en-US" sz="100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</a:rPr>
              <a:t>a Bachelor degree in </a:t>
            </a:r>
            <a:r>
              <a:rPr lang="en-IN" sz="1000" dirty="0">
                <a:latin typeface="EYInterstate"/>
                <a:sym typeface="Arial Unicode MS" pitchFamily="34" charset="-128"/>
              </a:rPr>
              <a:t>Computer Science from Calcutta University. MCA from SGVU.</a:t>
            </a:r>
            <a:endParaRPr lang="en-IN" sz="1000" dirty="0">
              <a:latin typeface="EYInterstate"/>
            </a:endParaRPr>
          </a:p>
          <a:p>
            <a:pPr marL="141299" marR="0" lvl="1" indent="-141299" defTabSz="791924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endParaRPr lang="en-IN" sz="1000" dirty="0">
              <a:solidFill>
                <a:schemeClr val="bg1">
                  <a:lumMod val="75000"/>
                </a:schemeClr>
              </a:solidFill>
              <a:latin typeface="EYInterstate Light (Body)"/>
              <a:cs typeface="Arial" pitchFamily="34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48FE99B-C3FD-43C4-AA4C-FE4DB3229349}"/>
              </a:ext>
            </a:extLst>
          </p:cNvPr>
          <p:cNvCxnSpPr>
            <a:cxnSpLocks/>
          </p:cNvCxnSpPr>
          <p:nvPr/>
        </p:nvCxnSpPr>
        <p:spPr>
          <a:xfrm>
            <a:off x="629723" y="4525466"/>
            <a:ext cx="3578943" cy="0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0" descr="A person wearing a red shirt&#10;&#10;Description automatically generated">
            <a:extLst>
              <a:ext uri="{FF2B5EF4-FFF2-40B4-BE49-F238E27FC236}">
                <a16:creationId xmlns:a16="http://schemas.microsoft.com/office/drawing/2014/main" id="{6CC47013-03FD-4BE3-4CA3-5D00851F987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4745" y="121111"/>
            <a:ext cx="988184" cy="1168853"/>
          </a:xfrm>
          <a:prstGeom prst="rect">
            <a:avLst/>
          </a:prstGeom>
        </p:spPr>
      </p:pic>
      <p:pic>
        <p:nvPicPr>
          <p:cNvPr id="3" name="Picture 2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71A0EF3-52CB-659E-A020-C298739165E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74561" y="-3348"/>
            <a:ext cx="952991" cy="1226877"/>
          </a:xfrm>
          <a:prstGeom prst="rect">
            <a:avLst/>
          </a:prstGeom>
        </p:spPr>
      </p:pic>
      <p:pic>
        <p:nvPicPr>
          <p:cNvPr id="4" name="Picture 5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AE2ADB5F-6AAB-10B4-52CA-2FE11313F7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26964" y="168208"/>
            <a:ext cx="1242336" cy="1197082"/>
          </a:xfrm>
          <a:prstGeom prst="rect">
            <a:avLst/>
          </a:prstGeom>
        </p:spPr>
      </p:pic>
      <p:pic>
        <p:nvPicPr>
          <p:cNvPr id="6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991713AF-6DC6-17D0-73B8-607F49AA526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37690" y="158129"/>
            <a:ext cx="1075077" cy="109481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A8CC1BC-D05D-5E49-F17B-473DE3C132D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712767" y="209909"/>
            <a:ext cx="1010137" cy="961484"/>
          </a:xfrm>
          <a:prstGeom prst="rect">
            <a:avLst/>
          </a:prstGeom>
        </p:spPr>
      </p:pic>
      <p:pic>
        <p:nvPicPr>
          <p:cNvPr id="8" name="Picture 2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FE5A0245-A1A9-D932-1CFD-CB39EA74B54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36504" y="193846"/>
            <a:ext cx="1041260" cy="999309"/>
          </a:xfrm>
          <a:prstGeom prst="rect">
            <a:avLst/>
          </a:prstGeom>
        </p:spPr>
      </p:pic>
      <p:pic>
        <p:nvPicPr>
          <p:cNvPr id="12" name="Picture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29911B6B-D265-0F68-2B7A-A9641C325FA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791364" y="191549"/>
            <a:ext cx="1021629" cy="99820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1E40BF2-E60F-FB07-D7DD-739C25F411A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624241" y="182374"/>
            <a:ext cx="1043520" cy="88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417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SLIDES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0</TotalTime>
  <Words>703</Words>
  <Application>Microsoft Office PowerPoint</Application>
  <PresentationFormat>Widescreen</PresentationFormat>
  <Paragraphs>4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Arial Unicode MS</vt:lpstr>
      <vt:lpstr>Calibri</vt:lpstr>
      <vt:lpstr>EYInterstate</vt:lpstr>
      <vt:lpstr>EYInterstate Light</vt:lpstr>
      <vt:lpstr>EYInterstate Light (Body)</vt:lpstr>
      <vt:lpstr>Wingdings</vt:lpstr>
      <vt:lpstr>Wingdings 3</vt:lpstr>
      <vt:lpstr>MASTER SLIDES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nu Garg</dc:creator>
  <cp:lastModifiedBy>Raju Das</cp:lastModifiedBy>
  <cp:revision>2</cp:revision>
  <dcterms:created xsi:type="dcterms:W3CDTF">2023-06-14T16:28:56Z</dcterms:created>
  <dcterms:modified xsi:type="dcterms:W3CDTF">2024-10-01T03:11:41Z</dcterms:modified>
</cp:coreProperties>
</file>